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513" r:id="rId4"/>
  </p:sldMasterIdLst>
  <p:notesMasterIdLst>
    <p:notesMasterId r:id="rId6"/>
  </p:notesMasterIdLst>
  <p:handoutMasterIdLst>
    <p:handoutMasterId r:id="rId7"/>
  </p:handoutMasterIdLst>
  <p:sldIdLst>
    <p:sldId id="2638" r:id="rId5"/>
  </p:sldIdLst>
  <p:sldSz cx="13442950" cy="7561263"/>
  <p:notesSz cx="6858000" cy="9144000"/>
  <p:custDataLst>
    <p:tags r:id="rId8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8A8A8D"/>
    <a:srgbClr val="FB3449"/>
    <a:srgbClr val="000000"/>
    <a:srgbClr val="CAC8C8"/>
    <a:srgbClr val="8547AD"/>
    <a:srgbClr val="33006F"/>
    <a:srgbClr val="0099A8"/>
    <a:srgbClr val="EA576C"/>
    <a:srgbClr val="DF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38" autoAdjust="0"/>
    <p:restoredTop sz="94291" autoAdjust="0"/>
  </p:normalViewPr>
  <p:slideViewPr>
    <p:cSldViewPr snapToGrid="0">
      <p:cViewPr varScale="1">
        <p:scale>
          <a:sx n="60" d="100"/>
          <a:sy n="60" d="100"/>
        </p:scale>
        <p:origin x="596" y="52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4/27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4/2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899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270000" y="1395414"/>
            <a:ext cx="12912600" cy="56822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64633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5004" y="2683268"/>
            <a:ext cx="8402591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1999"/>
              </a:lnSpc>
              <a:buNone/>
              <a:defRPr sz="1799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5557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4" y="1395414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2" y="1395414"/>
            <a:ext cx="4072954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5351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5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088459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307095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8" y="1395415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4" y="608972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4" y="6267182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3" y="1395415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2" y="608972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2" y="6267182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0419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9" y="179641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1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1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1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1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4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4" y="4850981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1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44793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9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4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4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50425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8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7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7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6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8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7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6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71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90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9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2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71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9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9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2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1297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6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5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5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72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6" y="1265222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2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300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3000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8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64214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4" y="1678920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6" y="1678920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4" y="1674539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1" y="1674539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31" y="1674539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4" y="4263518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1" y="4263518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31" y="4263518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4" y="1343805"/>
            <a:ext cx="4072954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4" y="1343805"/>
            <a:ext cx="4072954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72638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20"/>
            <a:ext cx="4145086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90"/>
            <a:ext cx="414982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92"/>
            <a:ext cx="414982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20"/>
            <a:ext cx="4103854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6" y="5416990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6" y="5676292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3" y="2668120"/>
            <a:ext cx="4130268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90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92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7" y="2060412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7" y="2320960"/>
            <a:ext cx="4033067" cy="239014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2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0"/>
            <a:ext cx="4033067" cy="239014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2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0"/>
            <a:ext cx="4033067" cy="239014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56174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2" y="1946277"/>
            <a:ext cx="4128568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8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9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7" y="1372455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7" y="1559553"/>
            <a:ext cx="4033067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2" y="1946278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29" y="5791664"/>
            <a:ext cx="305155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29" y="5969116"/>
            <a:ext cx="305155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6" y="1946277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3" y="4102377"/>
            <a:ext cx="1979396" cy="1593573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4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5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20" y="3572708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20" y="375016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5" y="4102375"/>
            <a:ext cx="3055939" cy="1593576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80" y="5791664"/>
            <a:ext cx="307821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80" y="5969116"/>
            <a:ext cx="307821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5" y="1946278"/>
            <a:ext cx="3055939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3" y="3577487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3" y="3754934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0546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2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14278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2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1284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718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8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4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8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9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27864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3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3" y="1658710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3" y="1987013"/>
            <a:ext cx="6664200" cy="4210169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599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770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199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2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21843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8100" imgH="38100" progId="">
                  <p:embed/>
                </p:oleObj>
              </mc:Choice>
              <mc:Fallback>
                <p:oleObj name="think-cell Slide" r:id="rId5" imgW="38100" imgH="38100" progId="">
                  <p:embed/>
                  <p:pic>
                    <p:nvPicPr>
                      <p:cNvPr id="5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89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/>
        </p:nvCxnSpPr>
        <p:spPr bwMode="gray">
          <a:xfrm>
            <a:off x="1" y="6791325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20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7" imgW="38100" imgH="38100" progId="">
                  <p:embed/>
                </p:oleObj>
              </mc:Choice>
              <mc:Fallback>
                <p:oleObj name="think-cell Slide" r:id="rId7" imgW="38100" imgH="38100" progId="">
                  <p:embed/>
                  <p:pic>
                    <p:nvPicPr>
                      <p:cNvPr id="9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89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6002" y="5102476"/>
            <a:ext cx="12331696" cy="709383"/>
          </a:xfrm>
        </p:spPr>
        <p:txBody>
          <a:bodyPr wrap="square" anchor="t" anchorCtr="0"/>
          <a:lstStyle>
            <a:lvl1pPr algn="l">
              <a:lnSpc>
                <a:spcPts val="5999"/>
              </a:lnSpc>
              <a:defRPr sz="6599"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62652" y="5789964"/>
            <a:ext cx="12305337" cy="455177"/>
          </a:xfrm>
        </p:spPr>
        <p:txBody>
          <a:bodyPr/>
          <a:lstStyle>
            <a:lvl1pPr marL="0" indent="0" algn="l">
              <a:lnSpc>
                <a:spcPts val="1500"/>
              </a:lnSpc>
              <a:buNone/>
              <a:defRPr sz="1400" b="1" i="0">
                <a:solidFill>
                  <a:schemeClr val="bg1"/>
                </a:solidFill>
              </a:defRPr>
            </a:lvl1pPr>
            <a:lvl2pPr marL="480887" indent="0" algn="ctr">
              <a:buNone/>
              <a:defRPr sz="2099"/>
            </a:lvl2pPr>
            <a:lvl3pPr marL="961770" indent="0" algn="ctr">
              <a:buNone/>
              <a:defRPr sz="1899"/>
            </a:lvl3pPr>
            <a:lvl4pPr marL="1442659" indent="0" algn="ctr">
              <a:buNone/>
              <a:defRPr sz="1699"/>
            </a:lvl4pPr>
            <a:lvl5pPr marL="1923545" indent="0" algn="ctr">
              <a:buNone/>
              <a:defRPr sz="1699"/>
            </a:lvl5pPr>
            <a:lvl6pPr marL="2404431" indent="0" algn="ctr">
              <a:buNone/>
              <a:defRPr sz="1699"/>
            </a:lvl6pPr>
            <a:lvl7pPr marL="2885317" indent="0" algn="ctr">
              <a:buNone/>
              <a:defRPr sz="1699"/>
            </a:lvl7pPr>
            <a:lvl8pPr marL="3366203" indent="0" algn="ctr">
              <a:buNone/>
              <a:defRPr sz="1699"/>
            </a:lvl8pPr>
            <a:lvl9pPr marL="3847087" indent="0" algn="ctr">
              <a:buNone/>
              <a:defRPr sz="1699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1" y="9"/>
            <a:ext cx="13442950" cy="4560249"/>
          </a:xfrm>
          <a:solidFill>
            <a:schemeClr val="accent5"/>
          </a:solidFill>
          <a:ln>
            <a:noFill/>
          </a:ln>
        </p:spPr>
        <p:txBody>
          <a:bodyPr tIns="1440000" rtlCol="0">
            <a:noAutofit/>
          </a:bodyPr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832" y="6983350"/>
            <a:ext cx="1665481" cy="434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001677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90" y="1578329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2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610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2"/>
            <a:ext cx="13442950" cy="706986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7"/>
            <a:ext cx="4670103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6" y="5368925"/>
            <a:ext cx="4159249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64633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8080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2"/>
            <a:ext cx="13442950" cy="706986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1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6" y="4321276"/>
            <a:ext cx="4159249" cy="2566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64633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1072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5508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1" y="1395413"/>
            <a:ext cx="12695650" cy="5672137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3487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2" y="1395416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7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6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2697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2" y="1395417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2" cy="1919288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2" y="5326243"/>
            <a:ext cx="4072954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48927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3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899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2" y="1395413"/>
            <a:ext cx="12695650" cy="567213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6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2" y="4277034"/>
            <a:ext cx="4072954" cy="26104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30608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2154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9" imgW="6350000" imgH="6350000" progId="">
                  <p:embed/>
                </p:oleObj>
              </mc:Choice>
              <mc:Fallback>
                <p:oleObj name="think-cell Slide" r:id="rId2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4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3" y="270001"/>
            <a:ext cx="12413343" cy="29715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642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  <p:sldLayoutId id="2147484518" r:id="rId5"/>
    <p:sldLayoutId id="2147484519" r:id="rId6"/>
    <p:sldLayoutId id="2147484520" r:id="rId7"/>
    <p:sldLayoutId id="2147484521" r:id="rId8"/>
    <p:sldLayoutId id="2147484522" r:id="rId9"/>
    <p:sldLayoutId id="2147484523" r:id="rId10"/>
    <p:sldLayoutId id="2147484524" r:id="rId11"/>
    <p:sldLayoutId id="2147484525" r:id="rId12"/>
    <p:sldLayoutId id="2147484526" r:id="rId13"/>
    <p:sldLayoutId id="2147484527" r:id="rId14"/>
    <p:sldLayoutId id="2147484528" r:id="rId15"/>
    <p:sldLayoutId id="2147484529" r:id="rId16"/>
    <p:sldLayoutId id="2147484530" r:id="rId17"/>
    <p:sldLayoutId id="2147484531" r:id="rId18"/>
    <p:sldLayoutId id="2147484532" r:id="rId19"/>
    <p:sldLayoutId id="2147484533" r:id="rId20"/>
    <p:sldLayoutId id="2147484534" r:id="rId21"/>
    <p:sldLayoutId id="2147484535" r:id="rId22"/>
    <p:sldLayoutId id="2147484536" r:id="rId23"/>
    <p:sldLayoutId id="2147484537" r:id="rId24"/>
    <p:sldLayoutId id="2147484538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770" rtl="0" eaLnBrk="1" latinLnBrk="0" hangingPunct="1">
        <a:spcBef>
          <a:spcPct val="0"/>
        </a:spcBef>
        <a:buNone/>
        <a:defRPr sz="2801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770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770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770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770" rtl="0" eaLnBrk="1" latinLnBrk="0" hangingPunct="1">
        <a:lnSpc>
          <a:spcPts val="1599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770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4873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3125759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606646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4087532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1pPr>
      <a:lvl2pPr marL="480887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2pPr>
      <a:lvl3pPr marL="961770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3pPr>
      <a:lvl4pPr marL="1442659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4pPr>
      <a:lvl5pPr marL="1923545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5pPr>
      <a:lvl6pPr marL="2404431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2885317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366203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3847087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jpeg"/><Relationship Id="rId18" Type="http://schemas.openxmlformats.org/officeDocument/2006/relationships/image" Target="../media/image20.png"/><Relationship Id="rId3" Type="http://schemas.openxmlformats.org/officeDocument/2006/relationships/image" Target="../media/image5.png"/><Relationship Id="rId21" Type="http://schemas.openxmlformats.org/officeDocument/2006/relationships/image" Target="../media/image23.png"/><Relationship Id="rId7" Type="http://schemas.openxmlformats.org/officeDocument/2006/relationships/image" Target="../media/image9.png"/><Relationship Id="rId12" Type="http://schemas.openxmlformats.org/officeDocument/2006/relationships/image" Target="../media/image14.jpeg"/><Relationship Id="rId17" Type="http://schemas.openxmlformats.org/officeDocument/2006/relationships/image" Target="../media/image19.png"/><Relationship Id="rId25" Type="http://schemas.openxmlformats.org/officeDocument/2006/relationships/image" Target="../media/image27.jpeg"/><Relationship Id="rId2" Type="http://schemas.openxmlformats.org/officeDocument/2006/relationships/image" Target="../media/image4.png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24" Type="http://schemas.openxmlformats.org/officeDocument/2006/relationships/image" Target="../media/image26.jpe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23" Type="http://schemas.openxmlformats.org/officeDocument/2006/relationships/image" Target="../media/image25.jpe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4" Type="http://schemas.openxmlformats.org/officeDocument/2006/relationships/image" Target="../media/image6.jpeg"/><Relationship Id="rId9" Type="http://schemas.openxmlformats.org/officeDocument/2006/relationships/image" Target="../media/image11.jpeg"/><Relationship Id="rId14" Type="http://schemas.openxmlformats.org/officeDocument/2006/relationships/image" Target="../media/image16.jpeg"/><Relationship Id="rId22" Type="http://schemas.openxmlformats.org/officeDocument/2006/relationships/image" Target="../media/image2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97A3212A-C06A-99B1-3615-20C9AE3F72B7}"/>
              </a:ext>
            </a:extLst>
          </p:cNvPr>
          <p:cNvCxnSpPr>
            <a:cxnSpLocks/>
          </p:cNvCxnSpPr>
          <p:nvPr/>
        </p:nvCxnSpPr>
        <p:spPr>
          <a:xfrm flipH="1" flipV="1">
            <a:off x="5236464" y="3612730"/>
            <a:ext cx="244" cy="203083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1F14A509-5170-A31D-A3EC-DF4291E1ABB6}"/>
              </a:ext>
            </a:extLst>
          </p:cNvPr>
          <p:cNvCxnSpPr>
            <a:cxnSpLocks/>
          </p:cNvCxnSpPr>
          <p:nvPr/>
        </p:nvCxnSpPr>
        <p:spPr>
          <a:xfrm flipV="1">
            <a:off x="3433403" y="2010338"/>
            <a:ext cx="0" cy="1602076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7FDC92BE-EE4A-E54C-BFF3-8CF766BB78B9}"/>
              </a:ext>
            </a:extLst>
          </p:cNvPr>
          <p:cNvSpPr txBox="1">
            <a:spLocks/>
          </p:cNvSpPr>
          <p:nvPr/>
        </p:nvSpPr>
        <p:spPr bwMode="gray">
          <a:xfrm>
            <a:off x="259028" y="183348"/>
            <a:ext cx="10435188" cy="43101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0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0" i="0" u="none" strike="noStrike" kern="1200" cap="all" spc="100" normalizeH="0" baseline="0" noProof="0" dirty="0">
                <a:ln w="22225">
                  <a:noFill/>
                  <a:prstDash val="solid"/>
                </a:ln>
                <a:solidFill>
                  <a:srgbClr val="FFFFFF"/>
                </a:solidFill>
                <a:effectLst/>
                <a:uLnTx/>
                <a:uFillTx/>
                <a:latin typeface="Impact"/>
                <a:ea typeface="+mj-ea"/>
                <a:cs typeface="+mj-cs"/>
              </a:rPr>
              <a:t>FILM SLATE 2023</a:t>
            </a:r>
          </a:p>
        </p:txBody>
      </p:sp>
      <p:sp>
        <p:nvSpPr>
          <p:cNvPr id="55" name="Rectangle: Rounded Corners 3">
            <a:extLst>
              <a:ext uri="{FF2B5EF4-FFF2-40B4-BE49-F238E27FC236}">
                <a16:creationId xmlns:a16="http://schemas.microsoft.com/office/drawing/2014/main" id="{81113650-8D03-47D7-B289-DF003545C79F}"/>
              </a:ext>
            </a:extLst>
          </p:cNvPr>
          <p:cNvSpPr/>
          <p:nvPr/>
        </p:nvSpPr>
        <p:spPr>
          <a:xfrm>
            <a:off x="-1" y="3596994"/>
            <a:ext cx="13442951" cy="288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84" b="0" i="0" u="none" strike="noStrike" kern="1200" cap="none" spc="10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mpact"/>
              <a:ea typeface="+mn-ea"/>
              <a:cs typeface="+mn-cs"/>
            </a:endParaRPr>
          </a:p>
        </p:txBody>
      </p:sp>
      <p:sp>
        <p:nvSpPr>
          <p:cNvPr id="52" name="Title 1">
            <a:extLst>
              <a:ext uri="{FF2B5EF4-FFF2-40B4-BE49-F238E27FC236}">
                <a16:creationId xmlns:a16="http://schemas.microsoft.com/office/drawing/2014/main" id="{5FFA68A6-5BE4-0C32-5604-53F9BC7B38BC}"/>
              </a:ext>
            </a:extLst>
          </p:cNvPr>
          <p:cNvSpPr txBox="1">
            <a:spLocks/>
          </p:cNvSpPr>
          <p:nvPr/>
        </p:nvSpPr>
        <p:spPr bwMode="gray">
          <a:xfrm>
            <a:off x="16045" y="3663842"/>
            <a:ext cx="332398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AY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B0738183-F9F0-6797-645D-53246778B9BD}"/>
              </a:ext>
            </a:extLst>
          </p:cNvPr>
          <p:cNvSpPr txBox="1">
            <a:spLocks/>
          </p:cNvSpPr>
          <p:nvPr/>
        </p:nvSpPr>
        <p:spPr bwMode="gray">
          <a:xfrm>
            <a:off x="1664879" y="3670128"/>
            <a:ext cx="332398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JUN</a:t>
            </a:r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id="{BFAED1DA-E089-13BB-E9D9-50E9FD0035A8}"/>
              </a:ext>
            </a:extLst>
          </p:cNvPr>
          <p:cNvSpPr txBox="1">
            <a:spLocks/>
          </p:cNvSpPr>
          <p:nvPr/>
        </p:nvSpPr>
        <p:spPr bwMode="gray">
          <a:xfrm>
            <a:off x="3424655" y="3655041"/>
            <a:ext cx="332398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JUL</a:t>
            </a: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0444A0D1-ADA5-FC2F-F41B-9C213615E104}"/>
              </a:ext>
            </a:extLst>
          </p:cNvPr>
          <p:cNvSpPr txBox="1">
            <a:spLocks/>
          </p:cNvSpPr>
          <p:nvPr/>
        </p:nvSpPr>
        <p:spPr bwMode="gray">
          <a:xfrm>
            <a:off x="5167659" y="3665146"/>
            <a:ext cx="332398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UG</a:t>
            </a: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F9B19B72-976F-5F6A-625F-4E037538ED4E}"/>
              </a:ext>
            </a:extLst>
          </p:cNvPr>
          <p:cNvSpPr txBox="1">
            <a:spLocks/>
          </p:cNvSpPr>
          <p:nvPr/>
        </p:nvSpPr>
        <p:spPr bwMode="gray">
          <a:xfrm>
            <a:off x="6905539" y="3665799"/>
            <a:ext cx="359900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SEP</a:t>
            </a:r>
          </a:p>
        </p:txBody>
      </p:sp>
      <p:sp>
        <p:nvSpPr>
          <p:cNvPr id="60" name="Title 1">
            <a:extLst>
              <a:ext uri="{FF2B5EF4-FFF2-40B4-BE49-F238E27FC236}">
                <a16:creationId xmlns:a16="http://schemas.microsoft.com/office/drawing/2014/main" id="{E8F83E1F-08E3-6C2F-0CD4-8F731EF916C8}"/>
              </a:ext>
            </a:extLst>
          </p:cNvPr>
          <p:cNvSpPr txBox="1">
            <a:spLocks/>
          </p:cNvSpPr>
          <p:nvPr/>
        </p:nvSpPr>
        <p:spPr bwMode="gray">
          <a:xfrm>
            <a:off x="8686672" y="3663585"/>
            <a:ext cx="360284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OCT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76ED3C6F-B425-758B-CFED-99C5B858DCFB}"/>
              </a:ext>
            </a:extLst>
          </p:cNvPr>
          <p:cNvSpPr txBox="1">
            <a:spLocks/>
          </p:cNvSpPr>
          <p:nvPr/>
        </p:nvSpPr>
        <p:spPr bwMode="gray">
          <a:xfrm>
            <a:off x="10267602" y="3653960"/>
            <a:ext cx="363598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NOV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944F19E6-B189-A0B7-2EBF-4A306F0D367C}"/>
              </a:ext>
            </a:extLst>
          </p:cNvPr>
          <p:cNvSpPr txBox="1">
            <a:spLocks/>
          </p:cNvSpPr>
          <p:nvPr/>
        </p:nvSpPr>
        <p:spPr bwMode="gray">
          <a:xfrm>
            <a:off x="11859500" y="3662360"/>
            <a:ext cx="291583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DEC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217E96E-C2F4-B167-C7EE-48FCE5E6A3C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795" r="8841"/>
          <a:stretch/>
        </p:blipFill>
        <p:spPr>
          <a:xfrm>
            <a:off x="12002115" y="4732291"/>
            <a:ext cx="1378494" cy="749789"/>
          </a:xfrm>
          <a:prstGeom prst="rect">
            <a:avLst/>
          </a:prstGeom>
        </p:spPr>
      </p:pic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7434FF1F-77A9-6E88-A3EE-74D7CEAFCBE8}"/>
              </a:ext>
            </a:extLst>
          </p:cNvPr>
          <p:cNvCxnSpPr>
            <a:cxnSpLocks/>
          </p:cNvCxnSpPr>
          <p:nvPr/>
        </p:nvCxnSpPr>
        <p:spPr>
          <a:xfrm flipV="1">
            <a:off x="11162262" y="2511275"/>
            <a:ext cx="0" cy="1143766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2" name="Picture 141">
            <a:extLst>
              <a:ext uri="{FF2B5EF4-FFF2-40B4-BE49-F238E27FC236}">
                <a16:creationId xmlns:a16="http://schemas.microsoft.com/office/drawing/2014/main" id="{D64511CE-7F52-6635-1A7B-F2F489035F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6741" y="4943174"/>
            <a:ext cx="1390932" cy="927288"/>
          </a:xfrm>
          <a:prstGeom prst="rect">
            <a:avLst/>
          </a:prstGeom>
        </p:spPr>
      </p:pic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272F0CF0-24ED-13BF-6252-D75DD61CB718}"/>
              </a:ext>
            </a:extLst>
          </p:cNvPr>
          <p:cNvCxnSpPr>
            <a:cxnSpLocks/>
          </p:cNvCxnSpPr>
          <p:nvPr/>
        </p:nvCxnSpPr>
        <p:spPr>
          <a:xfrm flipV="1">
            <a:off x="10493383" y="1969309"/>
            <a:ext cx="13666" cy="1680938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F909670-5C1F-24FF-AF48-CAD790CB80A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4120" y="2086047"/>
            <a:ext cx="799909" cy="1104675"/>
          </a:xfrm>
          <a:prstGeom prst="rect">
            <a:avLst/>
          </a:prstGeom>
        </p:spPr>
      </p:pic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06A981E-A1B6-9AB3-9C11-DFDCCBCE0D77}"/>
              </a:ext>
            </a:extLst>
          </p:cNvPr>
          <p:cNvCxnSpPr>
            <a:cxnSpLocks/>
          </p:cNvCxnSpPr>
          <p:nvPr/>
        </p:nvCxnSpPr>
        <p:spPr>
          <a:xfrm flipV="1">
            <a:off x="13211343" y="2572678"/>
            <a:ext cx="0" cy="1089682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FD06924F-F9F9-E6CB-0D04-F6D53FE5F067}"/>
              </a:ext>
            </a:extLst>
          </p:cNvPr>
          <p:cNvCxnSpPr>
            <a:cxnSpLocks/>
          </p:cNvCxnSpPr>
          <p:nvPr/>
        </p:nvCxnSpPr>
        <p:spPr>
          <a:xfrm flipV="1">
            <a:off x="9145290" y="2401557"/>
            <a:ext cx="3154" cy="1277947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57557F93-6C9D-633E-96E3-71BB4F4ACCB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11" r="16310" b="3122"/>
          <a:stretch/>
        </p:blipFill>
        <p:spPr>
          <a:xfrm>
            <a:off x="9644961" y="1363461"/>
            <a:ext cx="1665297" cy="499066"/>
          </a:xfrm>
          <a:prstGeom prst="rect">
            <a:avLst/>
          </a:prstGeom>
        </p:spPr>
      </p:pic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EA39940D-789C-43AB-A104-F884AB2C338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347" b="39514"/>
          <a:stretch/>
        </p:blipFill>
        <p:spPr>
          <a:xfrm>
            <a:off x="11414948" y="1438226"/>
            <a:ext cx="2039853" cy="30229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6C0DA60-8FDF-C9AA-A2F7-2E9BCCD2E83B}"/>
              </a:ext>
            </a:extLst>
          </p:cNvPr>
          <p:cNvCxnSpPr>
            <a:cxnSpLocks/>
          </p:cNvCxnSpPr>
          <p:nvPr/>
        </p:nvCxnSpPr>
        <p:spPr>
          <a:xfrm flipV="1">
            <a:off x="10872117" y="3650247"/>
            <a:ext cx="4081" cy="797252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0371449A-7F48-7EF3-E3CB-75BFE556B5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0128" y="5134451"/>
            <a:ext cx="1654298" cy="649555"/>
          </a:xfrm>
          <a:prstGeom prst="rect">
            <a:avLst/>
          </a:prstGeom>
        </p:spPr>
      </p:pic>
      <p:pic>
        <p:nvPicPr>
          <p:cNvPr id="38" name="Picture 37" descr="Text&#10;&#10;Description automatically generated">
            <a:extLst>
              <a:ext uri="{FF2B5EF4-FFF2-40B4-BE49-F238E27FC236}">
                <a16:creationId xmlns:a16="http://schemas.microsoft.com/office/drawing/2014/main" id="{AE101D55-BC6E-DAB9-9585-B234F9C60B3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76" t="23157" r="23489" b="25821"/>
          <a:stretch/>
        </p:blipFill>
        <p:spPr>
          <a:xfrm>
            <a:off x="7144317" y="4781146"/>
            <a:ext cx="1042006" cy="563133"/>
          </a:xfrm>
          <a:prstGeom prst="rect">
            <a:avLst/>
          </a:prstGeom>
        </p:spPr>
      </p:pic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70105914-F709-ACC3-7228-7C7660D05EC4}"/>
              </a:ext>
            </a:extLst>
          </p:cNvPr>
          <p:cNvCxnSpPr>
            <a:cxnSpLocks/>
          </p:cNvCxnSpPr>
          <p:nvPr/>
        </p:nvCxnSpPr>
        <p:spPr>
          <a:xfrm flipV="1">
            <a:off x="445262" y="2868049"/>
            <a:ext cx="0" cy="976348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Picture 12" descr="Guardians of the Galaxy Vol. 3 (2023) - IMDb">
            <a:extLst>
              <a:ext uri="{FF2B5EF4-FFF2-40B4-BE49-F238E27FC236}">
                <a16:creationId xmlns:a16="http://schemas.microsoft.com/office/drawing/2014/main" id="{69B38819-CCB9-FE07-1A12-E4B921E791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56" r="7023"/>
          <a:stretch/>
        </p:blipFill>
        <p:spPr bwMode="auto">
          <a:xfrm>
            <a:off x="16045" y="2142635"/>
            <a:ext cx="1633110" cy="95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AFAB4495-9B1C-F991-E651-068CEE0A1478}"/>
              </a:ext>
            </a:extLst>
          </p:cNvPr>
          <p:cNvCxnSpPr>
            <a:cxnSpLocks/>
          </p:cNvCxnSpPr>
          <p:nvPr/>
        </p:nvCxnSpPr>
        <p:spPr>
          <a:xfrm flipV="1">
            <a:off x="1128491" y="3739304"/>
            <a:ext cx="0" cy="992987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FE1B5717-D422-F4AC-601C-FE9F0F7E718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2945" y="4296646"/>
            <a:ext cx="1554515" cy="859329"/>
          </a:xfrm>
          <a:prstGeom prst="rect">
            <a:avLst/>
          </a:prstGeom>
        </p:spPr>
      </p:pic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3A7C8337-5CF6-C468-7F17-9CF065B73302}"/>
              </a:ext>
            </a:extLst>
          </p:cNvPr>
          <p:cNvCxnSpPr>
            <a:cxnSpLocks/>
          </p:cNvCxnSpPr>
          <p:nvPr/>
        </p:nvCxnSpPr>
        <p:spPr>
          <a:xfrm flipV="1">
            <a:off x="1546898" y="1765607"/>
            <a:ext cx="0" cy="1914521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8" name="Picture 117">
            <a:extLst>
              <a:ext uri="{FF2B5EF4-FFF2-40B4-BE49-F238E27FC236}">
                <a16:creationId xmlns:a16="http://schemas.microsoft.com/office/drawing/2014/main" id="{004B50FB-410F-A7F9-89CA-F75700FF33C5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5050" y="1295855"/>
            <a:ext cx="1333940" cy="812239"/>
          </a:xfrm>
          <a:prstGeom prst="rect">
            <a:avLst/>
          </a:prstGeom>
        </p:spPr>
      </p:pic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3ED52F71-1C59-7EBB-6C3F-BEEFB17516C3}"/>
              </a:ext>
            </a:extLst>
          </p:cNvPr>
          <p:cNvCxnSpPr>
            <a:cxnSpLocks/>
          </p:cNvCxnSpPr>
          <p:nvPr/>
        </p:nvCxnSpPr>
        <p:spPr>
          <a:xfrm flipV="1">
            <a:off x="1997277" y="3680128"/>
            <a:ext cx="0" cy="1706933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9D151C72-19EB-7A80-7765-294DCAA7C8CD}"/>
              </a:ext>
            </a:extLst>
          </p:cNvPr>
          <p:cNvCxnSpPr>
            <a:cxnSpLocks/>
          </p:cNvCxnSpPr>
          <p:nvPr/>
        </p:nvCxnSpPr>
        <p:spPr>
          <a:xfrm flipV="1">
            <a:off x="2447625" y="3052503"/>
            <a:ext cx="0" cy="763745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0" name="Picture 18" descr="Transformers: Rise of the Beasts (2023) - IMDb">
            <a:extLst>
              <a:ext uri="{FF2B5EF4-FFF2-40B4-BE49-F238E27FC236}">
                <a16:creationId xmlns:a16="http://schemas.microsoft.com/office/drawing/2014/main" id="{B12F60AB-4D8B-0EE4-7F49-63CF33EC1D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72057" y="2841635"/>
            <a:ext cx="1919747" cy="47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20" descr="Indiana Jones 5 (2023) - IMDb">
            <a:extLst>
              <a:ext uri="{FF2B5EF4-FFF2-40B4-BE49-F238E27FC236}">
                <a16:creationId xmlns:a16="http://schemas.microsoft.com/office/drawing/2014/main" id="{01DCB829-8090-DB2E-ED85-097CB3D3F4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47658" y="1612994"/>
            <a:ext cx="1619570" cy="731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A1C30AA-241A-2ED4-2828-8D1000FC4A81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7273" y="1143286"/>
            <a:ext cx="2893266" cy="287172"/>
          </a:xfrm>
          <a:prstGeom prst="rect">
            <a:avLst/>
          </a:prstGeom>
        </p:spPr>
      </p:pic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66B3300-D369-DC13-E473-DB042BD50C27}"/>
              </a:ext>
            </a:extLst>
          </p:cNvPr>
          <p:cNvCxnSpPr>
            <a:cxnSpLocks/>
          </p:cNvCxnSpPr>
          <p:nvPr/>
        </p:nvCxnSpPr>
        <p:spPr>
          <a:xfrm flipV="1">
            <a:off x="4769626" y="1549764"/>
            <a:ext cx="0" cy="218954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4B15C9A7-22CD-76C5-9452-5D3FA2671472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964" t="-1" r="13243" b="-8071"/>
          <a:stretch/>
        </p:blipFill>
        <p:spPr>
          <a:xfrm>
            <a:off x="4124820" y="1965319"/>
            <a:ext cx="1250121" cy="743107"/>
          </a:xfrm>
          <a:prstGeom prst="rect">
            <a:avLst/>
          </a:prstGeom>
        </p:spPr>
      </p:pic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06188AEC-E957-3659-49D4-87CC95043D49}"/>
              </a:ext>
            </a:extLst>
          </p:cNvPr>
          <p:cNvCxnSpPr>
            <a:cxnSpLocks/>
          </p:cNvCxnSpPr>
          <p:nvPr/>
        </p:nvCxnSpPr>
        <p:spPr>
          <a:xfrm flipV="1">
            <a:off x="4066736" y="3789973"/>
            <a:ext cx="0" cy="992987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53D4DA09-A236-5A79-CB4D-D10854CD0C8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843875" y="4636465"/>
            <a:ext cx="2471334" cy="604343"/>
          </a:xfrm>
          <a:prstGeom prst="rect">
            <a:avLst/>
          </a:prstGeom>
        </p:spPr>
      </p:pic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577A6D9F-1334-4FCF-973F-C4AE88060EE1}"/>
              </a:ext>
            </a:extLst>
          </p:cNvPr>
          <p:cNvCxnSpPr>
            <a:cxnSpLocks/>
          </p:cNvCxnSpPr>
          <p:nvPr/>
        </p:nvCxnSpPr>
        <p:spPr>
          <a:xfrm flipV="1">
            <a:off x="5917702" y="3017762"/>
            <a:ext cx="0" cy="807321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" name="Picture 111">
            <a:extLst>
              <a:ext uri="{FF2B5EF4-FFF2-40B4-BE49-F238E27FC236}">
                <a16:creationId xmlns:a16="http://schemas.microsoft.com/office/drawing/2014/main" id="{744F5A13-BAA7-EA24-C269-D524BC18C42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36549" y="5479844"/>
            <a:ext cx="1193948" cy="803201"/>
          </a:xfrm>
          <a:prstGeom prst="rect">
            <a:avLst/>
          </a:prstGeom>
        </p:spPr>
      </p:pic>
      <p:pic>
        <p:nvPicPr>
          <p:cNvPr id="34" name="Picture 33" descr="Text&#10;&#10;Description automatically generated">
            <a:extLst>
              <a:ext uri="{FF2B5EF4-FFF2-40B4-BE49-F238E27FC236}">
                <a16:creationId xmlns:a16="http://schemas.microsoft.com/office/drawing/2014/main" id="{76D5DD18-0BB7-EB72-E3F6-75D3E015580E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1" t="26370" r="16241" b="27307"/>
          <a:stretch/>
        </p:blipFill>
        <p:spPr>
          <a:xfrm>
            <a:off x="5328264" y="2752114"/>
            <a:ext cx="1204148" cy="464255"/>
          </a:xfrm>
          <a:prstGeom prst="rect">
            <a:avLst/>
          </a:prstGeom>
        </p:spPr>
      </p:pic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2E807580-A3AE-220D-C002-29821F0AD93D}"/>
              </a:ext>
            </a:extLst>
          </p:cNvPr>
          <p:cNvCxnSpPr>
            <a:cxnSpLocks/>
          </p:cNvCxnSpPr>
          <p:nvPr/>
        </p:nvCxnSpPr>
        <p:spPr>
          <a:xfrm flipV="1">
            <a:off x="6190733" y="3612414"/>
            <a:ext cx="4871" cy="1112963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A4B21797-09B8-ADCC-812B-CD709EC8DF66}"/>
              </a:ext>
            </a:extLst>
          </p:cNvPr>
          <p:cNvCxnSpPr>
            <a:cxnSpLocks/>
          </p:cNvCxnSpPr>
          <p:nvPr/>
        </p:nvCxnSpPr>
        <p:spPr>
          <a:xfrm flipV="1">
            <a:off x="7085489" y="2568356"/>
            <a:ext cx="0" cy="1087075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227C9AE7-A117-5B17-BA55-ED670D588A78}"/>
              </a:ext>
            </a:extLst>
          </p:cNvPr>
          <p:cNvCxnSpPr>
            <a:cxnSpLocks/>
          </p:cNvCxnSpPr>
          <p:nvPr/>
        </p:nvCxnSpPr>
        <p:spPr>
          <a:xfrm flipV="1">
            <a:off x="9709110" y="3844609"/>
            <a:ext cx="0" cy="992987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A795A7D0-C261-0163-FE37-A59209937FBD}"/>
              </a:ext>
            </a:extLst>
          </p:cNvPr>
          <p:cNvCxnSpPr>
            <a:cxnSpLocks/>
          </p:cNvCxnSpPr>
          <p:nvPr/>
        </p:nvCxnSpPr>
        <p:spPr>
          <a:xfrm flipV="1">
            <a:off x="11564866" y="3689681"/>
            <a:ext cx="0" cy="1706933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333BE841-534C-735D-4F81-BDAA8B66B06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952852" y="4251030"/>
            <a:ext cx="1807165" cy="754230"/>
          </a:xfrm>
          <a:prstGeom prst="rect">
            <a:avLst/>
          </a:prstGeom>
        </p:spPr>
      </p:pic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F5B98D45-8CD8-CEBF-5183-DF4402AB5A27}"/>
              </a:ext>
            </a:extLst>
          </p:cNvPr>
          <p:cNvCxnSpPr>
            <a:cxnSpLocks/>
          </p:cNvCxnSpPr>
          <p:nvPr/>
        </p:nvCxnSpPr>
        <p:spPr>
          <a:xfrm flipV="1">
            <a:off x="12567439" y="3754536"/>
            <a:ext cx="0" cy="992987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35" descr="Logo&#10;&#10;Description automatically generated">
            <a:extLst>
              <a:ext uri="{FF2B5EF4-FFF2-40B4-BE49-F238E27FC236}">
                <a16:creationId xmlns:a16="http://schemas.microsoft.com/office/drawing/2014/main" id="{76E0A1A7-EEB5-80FB-7B69-7E9AF4627A4C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966" y="4402623"/>
            <a:ext cx="1097208" cy="82142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008475A-6AF4-1C16-FB64-7DE9C2A53AF9}"/>
              </a:ext>
            </a:extLst>
          </p:cNvPr>
          <p:cNvCxnSpPr>
            <a:cxnSpLocks/>
          </p:cNvCxnSpPr>
          <p:nvPr/>
        </p:nvCxnSpPr>
        <p:spPr>
          <a:xfrm flipV="1">
            <a:off x="7665320" y="3596994"/>
            <a:ext cx="4871" cy="1112963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extLst>
              <a:ext uri="{FF2B5EF4-FFF2-40B4-BE49-F238E27FC236}">
                <a16:creationId xmlns:a16="http://schemas.microsoft.com/office/drawing/2014/main" id="{50F1FA83-E27A-B360-A9CA-ED6E128C5C84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644" b="24555"/>
          <a:stretch/>
        </p:blipFill>
        <p:spPr>
          <a:xfrm>
            <a:off x="8409840" y="2345620"/>
            <a:ext cx="1433950" cy="679028"/>
          </a:xfrm>
          <a:prstGeom prst="rect">
            <a:avLst/>
          </a:prstGeom>
        </p:spPr>
      </p:pic>
      <p:pic>
        <p:nvPicPr>
          <p:cNvPr id="40" name="Picture 39" descr="Logo&#10;&#10;Description automatically generated">
            <a:extLst>
              <a:ext uri="{FF2B5EF4-FFF2-40B4-BE49-F238E27FC236}">
                <a16:creationId xmlns:a16="http://schemas.microsoft.com/office/drawing/2014/main" id="{8345B4EB-D6D1-58F9-1241-80CBF4900225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27" t="9920" r="18297" b="11933"/>
          <a:stretch/>
        </p:blipFill>
        <p:spPr>
          <a:xfrm>
            <a:off x="11127618" y="5203651"/>
            <a:ext cx="891437" cy="731642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B7E0BE8-9A38-818D-7A0F-2C7E392EE7B6}"/>
              </a:ext>
            </a:extLst>
          </p:cNvPr>
          <p:cNvCxnSpPr>
            <a:cxnSpLocks/>
          </p:cNvCxnSpPr>
          <p:nvPr/>
        </p:nvCxnSpPr>
        <p:spPr>
          <a:xfrm flipV="1">
            <a:off x="12678811" y="1928688"/>
            <a:ext cx="13666" cy="1680938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2178" name="Picture 2" descr="Aquaman and the Lost Kingdom - Wikipedia">
            <a:extLst>
              <a:ext uri="{FF2B5EF4-FFF2-40B4-BE49-F238E27FC236}">
                <a16:creationId xmlns:a16="http://schemas.microsoft.com/office/drawing/2014/main" id="{F06BA888-9B34-4D7F-A747-DE1464A9C5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3" t="-1285" r="10368" b="1285"/>
          <a:stretch/>
        </p:blipFill>
        <p:spPr bwMode="auto">
          <a:xfrm>
            <a:off x="12322024" y="2312865"/>
            <a:ext cx="1113330" cy="733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40A615C-9335-22F7-A44D-12A4A8C148AD}"/>
              </a:ext>
            </a:extLst>
          </p:cNvPr>
          <p:cNvCxnSpPr>
            <a:cxnSpLocks/>
          </p:cNvCxnSpPr>
          <p:nvPr/>
        </p:nvCxnSpPr>
        <p:spPr>
          <a:xfrm flipV="1">
            <a:off x="7998711" y="1605343"/>
            <a:ext cx="0" cy="218954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2" descr="A Haunting in Venice (2023) - IMDb">
            <a:extLst>
              <a:ext uri="{FF2B5EF4-FFF2-40B4-BE49-F238E27FC236}">
                <a16:creationId xmlns:a16="http://schemas.microsoft.com/office/drawing/2014/main" id="{5B71D640-62B6-675C-FC43-7DA78FAF5C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98" t="35468" r="14098" b="36063"/>
          <a:stretch/>
        </p:blipFill>
        <p:spPr bwMode="auto">
          <a:xfrm>
            <a:off x="7378912" y="1406409"/>
            <a:ext cx="1239597" cy="731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F9F276E-7AF3-810D-224B-39146E85277D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8920" y="2308974"/>
            <a:ext cx="1981598" cy="326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114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E517AFC7-1F88-4F1D-80C6-0CBC4A2E8871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F8127FAEC31A48AE6F1C492DD759CF" ma:contentTypeVersion="2" ma:contentTypeDescription="Create a new document." ma:contentTypeScope="" ma:versionID="e2a11eef44a86051666b89c82a9dfd3f">
  <xsd:schema xmlns:xsd="http://www.w3.org/2001/XMLSchema" xmlns:xs="http://www.w3.org/2001/XMLSchema" xmlns:p="http://schemas.microsoft.com/office/2006/metadata/properties" xmlns:ns2="a780b68c-c101-4594-8485-2bb2f67a1cfe" targetNamespace="http://schemas.microsoft.com/office/2006/metadata/properties" ma:root="true" ma:fieldsID="601f7a0fc27f77a4e72f14f56b4e943a" ns2:_="">
    <xsd:import namespace="a780b68c-c101-4594-8485-2bb2f67a1c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80b68c-c101-4594-8485-2bb2f67a1c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5401ED0-B691-4DE7-A49E-13EC205B57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80b68c-c101-4594-8485-2bb2f67a1cf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7F80AC7-7E68-4C0E-AE6C-54663BD55B2B}">
  <ds:schemaRefs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a780b68c-c101-4594-8485-2bb2f67a1cfe"/>
  </ds:schemaRefs>
</ds:datastoreItem>
</file>

<file path=customXml/itemProps3.xml><?xml version="1.0" encoding="utf-8"?>
<ds:datastoreItem xmlns:ds="http://schemas.openxmlformats.org/officeDocument/2006/customXml" ds:itemID="{EB76D51E-4894-4876-8F3A-84420C2F4A7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</Words>
  <Application>Microsoft Office PowerPoint</Application>
  <PresentationFormat>Custom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entury Gothic</vt:lpstr>
      <vt:lpstr>Impact</vt:lpstr>
      <vt:lpstr>Wingdings</vt:lpstr>
      <vt:lpstr>18_Image Slides</vt:lpstr>
      <vt:lpstr>think-cell Slide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nema’s return in 15 MINUTES</dc:title>
  <dc:creator/>
  <cp:lastModifiedBy/>
  <cp:revision>2</cp:revision>
  <dcterms:created xsi:type="dcterms:W3CDTF">2019-12-03T11:49:31Z</dcterms:created>
  <dcterms:modified xsi:type="dcterms:W3CDTF">2023-04-27T13:34:3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ContentTypeId">
    <vt:lpwstr>0x0101000CF8127FAEC31A48AE6F1C492DD759CF</vt:lpwstr>
  </property>
</Properties>
</file>